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>
  <p:sldMasterIdLst>
    <p:sldMasterId id="2147483648" r:id="rId1"/>
    <p:sldMasterId id="2147483658" r:id="rId2"/>
  </p:sldMasterIdLst>
  <p:notesMasterIdLst>
    <p:notesMasterId r:id="rId7"/>
  </p:notesMasterIdLst>
  <p:handoutMasterIdLst>
    <p:handoutMasterId r:id="rId8"/>
  </p:handoutMasterIdLst>
  <p:sldIdLst>
    <p:sldId id="256" r:id="rId3"/>
    <p:sldId id="262" r:id="rId4"/>
    <p:sldId id="263" r:id="rId5"/>
    <p:sldId id="264" r:id="rId6"/>
  </p:sldIdLst>
  <p:sldSz cx="9602788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4D4D4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388" autoAdjust="0"/>
    <p:restoredTop sz="94660"/>
  </p:normalViewPr>
  <p:slideViewPr>
    <p:cSldViewPr snapToGrid="0" snapToObjects="1">
      <p:cViewPr>
        <p:scale>
          <a:sx n="110" d="100"/>
          <a:sy n="110" d="100"/>
        </p:scale>
        <p:origin x="512" y="272"/>
      </p:cViewPr>
      <p:guideLst>
        <p:guide orient="horz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3904" y="20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notesMaster" Target="notesMasters/notesMaster1.xml"/><Relationship Id="rId8" Type="http://schemas.openxmlformats.org/officeDocument/2006/relationships/handoutMaster" Target="handoutMasters/handoutMaster1.xml"/><Relationship Id="rId9" Type="http://schemas.openxmlformats.org/officeDocument/2006/relationships/tags" Target="tags/tag1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24B623-D5B1-4C15-839B-4C9DC49C1FCE}" type="datetimeFigureOut">
              <a:rPr lang="en-US" smtClean="0"/>
              <a:pPr/>
              <a:t>1/16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D7A600-0476-4F90-B467-B0C0B06FC3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4048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BB82BF-AFFF-4DE8-8536-BF5960A967C5}" type="datetimeFigureOut">
              <a:rPr lang="en-US" smtClean="0"/>
              <a:pPr/>
              <a:t>1/16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28700" y="685800"/>
            <a:ext cx="48006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882E14-7B1B-4F59-9598-260F910908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6416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882E14-7B1B-4F59-9598-260F91090861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4161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" y="0"/>
            <a:ext cx="9601200" cy="6858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17488" y="6578619"/>
            <a:ext cx="302432" cy="15388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30EDA73F-8268-A04C-893B-919477494DF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686800" cy="4617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17488" y="6578619"/>
            <a:ext cx="302432" cy="15388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30EDA73F-8268-A04C-893B-919477494DF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686800" cy="4617720"/>
          </a:xfrm>
        </p:spPr>
        <p:txBody>
          <a:bodyPr lIns="0" tIns="0" rIns="0" bIns="0"/>
          <a:lstStyle>
            <a:lvl1pPr marL="0" indent="-173736">
              <a:spcBef>
                <a:spcPts val="384"/>
              </a:spcBef>
              <a:buClr>
                <a:schemeClr val="tx1"/>
              </a:buClr>
              <a:buFont typeface="Arial" pitchFamily="34" charset="0"/>
              <a:buChar char="•"/>
              <a:defRPr b="0"/>
            </a:lvl1pPr>
            <a:lvl2pPr marL="623888" indent="-217488">
              <a:buFont typeface="Arial" pitchFamily="34" charset="0"/>
              <a:buChar char="–"/>
              <a:defRPr/>
            </a:lvl2pPr>
            <a:lvl3pPr marL="1081088" indent="-228600">
              <a:defRPr/>
            </a:lvl3pPr>
            <a:lvl4pPr marL="1545336" indent="-228600"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17488" y="6578619"/>
            <a:ext cx="302432" cy="15388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30EDA73F-8268-A04C-893B-919477494DF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17488" y="6578619"/>
            <a:ext cx="302432" cy="15388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30EDA73F-8268-A04C-893B-919477494DF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17488" y="6578619"/>
            <a:ext cx="302432" cy="15388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30EDA73F-8268-A04C-893B-919477494DF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" y="0"/>
            <a:ext cx="9601200" cy="6858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686800" cy="4617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17488" y="6578619"/>
            <a:ext cx="302432" cy="15388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30EDA73F-8268-A04C-893B-919477494DF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686800" cy="4617720"/>
          </a:xfrm>
        </p:spPr>
        <p:txBody>
          <a:bodyPr lIns="0" tIns="0" rIns="0" bIns="0"/>
          <a:lstStyle>
            <a:lvl1pPr marL="0" indent="-173736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b="0"/>
            </a:lvl1pPr>
            <a:lvl2pPr marL="623888" indent="-217488">
              <a:buFont typeface="Arial" pitchFamily="34" charset="0"/>
              <a:buChar char="–"/>
              <a:defRPr/>
            </a:lvl2pPr>
            <a:lvl3pPr marL="1081088" indent="-228600">
              <a:defRPr/>
            </a:lvl3pPr>
            <a:lvl4pPr marL="1545336" indent="-228600"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17488" y="6578619"/>
            <a:ext cx="302432" cy="15388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30EDA73F-8268-A04C-893B-919477494DF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17488" y="6578619"/>
            <a:ext cx="302432" cy="15388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30EDA73F-8268-A04C-893B-919477494DF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1.emf"/><Relationship Id="rId11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4" Type="http://schemas.openxmlformats.org/officeDocument/2006/relationships/slideLayout" Target="../slideLayouts/slideLayout9.xml"/><Relationship Id="rId5" Type="http://schemas.openxmlformats.org/officeDocument/2006/relationships/slideLayout" Target="../slideLayouts/slideLayout10.xml"/><Relationship Id="rId6" Type="http://schemas.openxmlformats.org/officeDocument/2006/relationships/theme" Target="../theme/theme2.xml"/><Relationship Id="rId7" Type="http://schemas.openxmlformats.org/officeDocument/2006/relationships/vmlDrawing" Target="../drawings/vmlDrawing2.vml"/><Relationship Id="rId8" Type="http://schemas.openxmlformats.org/officeDocument/2006/relationships/tags" Target="../tags/tag3.xml"/><Relationship Id="rId9" Type="http://schemas.openxmlformats.org/officeDocument/2006/relationships/oleObject" Target="../embeddings/oleObject2.bin"/><Relationship Id="rId10" Type="http://schemas.openxmlformats.org/officeDocument/2006/relationships/image" Target="../media/image1.emf"/><Relationship Id="rId11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2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6904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0800" y="1508400"/>
            <a:ext cx="8690400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6435356"/>
            <a:ext cx="9601200" cy="422644"/>
          </a:xfrm>
          <a:prstGeom prst="rect">
            <a:avLst/>
          </a:prstGeom>
          <a:solidFill>
            <a:schemeClr val="tx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7562724" y="6578619"/>
            <a:ext cx="15848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solidFill>
                  <a:schemeClr val="bg1"/>
                </a:solidFill>
              </a:rPr>
              <a:t>Private and Confidential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17488" y="6578619"/>
            <a:ext cx="302432" cy="15388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30EDA73F-8268-A04C-893B-919477494DF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859" y="6465371"/>
            <a:ext cx="1885361" cy="36576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4" r:id="rId4"/>
    <p:sldLayoutId id="2147483655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rgbClr val="000000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rgbClr val="000000"/>
        </a:buClr>
        <a:buFont typeface="Arial" pitchFamily="34" charset="0"/>
        <a:buChar char="•"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rgbClr val="000000"/>
        </a:buClr>
        <a:buFont typeface="Arial" pitchFamily="34" charset="0"/>
        <a:buChar char="–"/>
        <a:defRPr sz="1600" kern="1200">
          <a:solidFill>
            <a:srgbClr val="000000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rgbClr val="000000"/>
        </a:buClr>
        <a:buFont typeface="Arial" pitchFamily="34" charset="0"/>
        <a:buChar char="–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rgbClr val="000000"/>
        </a:buClr>
        <a:buFont typeface="Arial" pitchFamily="34" charset="0"/>
        <a:buChar char="–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6904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0800" y="1508400"/>
            <a:ext cx="8690400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8614303" y="6390344"/>
            <a:ext cx="536896" cy="402038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 anchor="ctr">
            <a:noAutofit/>
          </a:bodyPr>
          <a:lstStyle/>
          <a:p>
            <a:pPr algn="ctr">
              <a:defRPr/>
            </a:pPr>
            <a:fld id="{8FDC6993-5875-43F1-AB5B-56FAFD3221C9}" type="slidenum">
              <a:rPr lang="en-US" sz="900" smtClean="0">
                <a:solidFill>
                  <a:srgbClr val="FFFFFF"/>
                </a:solidFill>
              </a:rPr>
              <a:pPr algn="ctr">
                <a:defRPr/>
              </a:pPr>
              <a:t>‹#›</a:t>
            </a:fld>
            <a:endParaRPr lang="en-US" sz="900" dirty="0" smtClean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435356"/>
            <a:ext cx="9601200" cy="422644"/>
          </a:xfrm>
          <a:prstGeom prst="rect">
            <a:avLst/>
          </a:prstGeom>
          <a:solidFill>
            <a:schemeClr val="tx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 userDrawn="1"/>
        </p:nvSpPr>
        <p:spPr>
          <a:xfrm>
            <a:off x="7562724" y="6578619"/>
            <a:ext cx="15848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 smtClean="0">
                <a:solidFill>
                  <a:schemeClr val="bg1"/>
                </a:solidFill>
              </a:rPr>
              <a:t>Private and Confidential</a:t>
            </a:r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17488" y="6578619"/>
            <a:ext cx="302432" cy="15388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30EDA73F-8268-A04C-893B-919477494DF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859" y="6465371"/>
            <a:ext cx="1885361" cy="36576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rgbClr val="000000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rgbClr val="000000"/>
        </a:buClr>
        <a:buFont typeface="Arial" pitchFamily="34" charset="0"/>
        <a:buChar char="•"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rgbClr val="000000"/>
        </a:buClr>
        <a:buFont typeface="Arial" pitchFamily="34" charset="0"/>
        <a:buChar char="–"/>
        <a:defRPr sz="1600" kern="1200">
          <a:solidFill>
            <a:srgbClr val="000000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rgbClr val="000000"/>
        </a:buClr>
        <a:buFont typeface="Arial" pitchFamily="34" charset="0"/>
        <a:buChar char="–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rgbClr val="000000"/>
        </a:buClr>
        <a:buFont typeface="Arial" pitchFamily="34" charset="0"/>
        <a:buChar char="–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Layout" Target="../slideLayouts/slideLayout1.xml"/><Relationship Id="rId3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tags" Target="../tags/tag12.xml"/><Relationship Id="rId20" Type="http://schemas.openxmlformats.org/officeDocument/2006/relationships/tags" Target="../tags/tag23.xml"/><Relationship Id="rId21" Type="http://schemas.openxmlformats.org/officeDocument/2006/relationships/tags" Target="../tags/tag24.xml"/><Relationship Id="rId22" Type="http://schemas.openxmlformats.org/officeDocument/2006/relationships/slideLayout" Target="../slideLayouts/slideLayout2.xml"/><Relationship Id="rId23" Type="http://schemas.openxmlformats.org/officeDocument/2006/relationships/oleObject" Target="../embeddings/oleObject3.bin"/><Relationship Id="rId24" Type="http://schemas.openxmlformats.org/officeDocument/2006/relationships/image" Target="../media/image4.emf"/><Relationship Id="rId10" Type="http://schemas.openxmlformats.org/officeDocument/2006/relationships/tags" Target="../tags/tag13.xml"/><Relationship Id="rId11" Type="http://schemas.openxmlformats.org/officeDocument/2006/relationships/tags" Target="../tags/tag14.xml"/><Relationship Id="rId12" Type="http://schemas.openxmlformats.org/officeDocument/2006/relationships/tags" Target="../tags/tag15.xml"/><Relationship Id="rId13" Type="http://schemas.openxmlformats.org/officeDocument/2006/relationships/tags" Target="../tags/tag16.xml"/><Relationship Id="rId14" Type="http://schemas.openxmlformats.org/officeDocument/2006/relationships/tags" Target="../tags/tag17.xml"/><Relationship Id="rId15" Type="http://schemas.openxmlformats.org/officeDocument/2006/relationships/tags" Target="../tags/tag18.xml"/><Relationship Id="rId16" Type="http://schemas.openxmlformats.org/officeDocument/2006/relationships/tags" Target="../tags/tag19.xml"/><Relationship Id="rId17" Type="http://schemas.openxmlformats.org/officeDocument/2006/relationships/tags" Target="../tags/tag20.xml"/><Relationship Id="rId18" Type="http://schemas.openxmlformats.org/officeDocument/2006/relationships/tags" Target="../tags/tag21.xml"/><Relationship Id="rId19" Type="http://schemas.openxmlformats.org/officeDocument/2006/relationships/tags" Target="../tags/tag22.xml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tags" Target="../tags/tag8.xml"/><Relationship Id="rId6" Type="http://schemas.openxmlformats.org/officeDocument/2006/relationships/tags" Target="../tags/tag9.xml"/><Relationship Id="rId7" Type="http://schemas.openxmlformats.org/officeDocument/2006/relationships/tags" Target="../tags/tag10.xml"/><Relationship Id="rId8" Type="http://schemas.openxmlformats.org/officeDocument/2006/relationships/tags" Target="../tags/tag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verslide_title"/>
          <p:cNvSpPr/>
          <p:nvPr/>
        </p:nvSpPr>
        <p:spPr>
          <a:xfrm>
            <a:off x="604800" y="5070577"/>
            <a:ext cx="8344647" cy="7976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itle in Title Case (Arial Bold 24pt, White)</a:t>
            </a:r>
          </a:p>
          <a:p>
            <a:pPr algn="ctr"/>
            <a:r>
              <a:rPr lang="en-US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ubtitle in Title Case (Arial 20pt, White)</a:t>
            </a:r>
            <a:endParaRPr lang="en-US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coverslide_date"/>
          <p:cNvSpPr/>
          <p:nvPr/>
        </p:nvSpPr>
        <p:spPr>
          <a:xfrm>
            <a:off x="604800" y="5889589"/>
            <a:ext cx="8344647" cy="37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te (Arial 16pt, White)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add title (Arial 24pt)</a:t>
            </a:r>
            <a:br>
              <a:rPr lang="en-US" dirty="0"/>
            </a:br>
            <a:r>
              <a:rPr lang="en-US" sz="1600" b="0" dirty="0"/>
              <a:t>Click to add subtitle (Arial 16 font)</a:t>
            </a:r>
            <a:endParaRPr lang="en-US" sz="1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buClr>
                <a:srgbClr val="000000"/>
              </a:buClr>
              <a:buSzPct val="100000"/>
            </a:pPr>
            <a:r>
              <a:rPr lang="en-US" dirty="0"/>
              <a:t>Click to add text</a:t>
            </a:r>
          </a:p>
          <a:p>
            <a:pPr lvl="1" indent="-230400">
              <a:spcBef>
                <a:spcPts val="384"/>
              </a:spcBef>
              <a:buSzPct val="100000"/>
              <a:buFont typeface="Arial"/>
              <a:buChar char="•"/>
            </a:pPr>
            <a:r>
              <a:rPr lang="en-US" dirty="0"/>
              <a:t>Click to add text</a:t>
            </a:r>
          </a:p>
          <a:p>
            <a:pPr lvl="2" indent="-230400">
              <a:spcBef>
                <a:spcPts val="384"/>
              </a:spcBef>
              <a:buSzPct val="100000"/>
              <a:buFont typeface="Arial"/>
              <a:buChar char="–"/>
            </a:pPr>
            <a:r>
              <a:rPr lang="en-US" dirty="0"/>
              <a:t>Click to add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EDA73F-8268-A04C-893B-919477494DF3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403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EDA73F-8268-A04C-893B-919477494DF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idx="4294967295"/>
          </p:nvPr>
        </p:nvSpPr>
        <p:spPr>
          <a:xfrm>
            <a:off x="912813" y="161925"/>
            <a:ext cx="8689975" cy="831850"/>
          </a:xfrm>
        </p:spPr>
        <p:txBody>
          <a:bodyPr/>
          <a:lstStyle/>
          <a:p>
            <a:r>
              <a:rPr lang="en-US" dirty="0" smtClean="0"/>
              <a:t>Color palette and chart style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16271" y="2252846"/>
            <a:ext cx="785223" cy="550387"/>
          </a:xfrm>
          <a:prstGeom prst="rect">
            <a:avLst/>
          </a:prstGeom>
          <a:noFill/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No fill</a:t>
            </a:r>
          </a:p>
        </p:txBody>
      </p:sp>
      <p:sp>
        <p:nvSpPr>
          <p:cNvPr id="7" name="Rectangle 6"/>
          <p:cNvSpPr/>
          <p:nvPr/>
        </p:nvSpPr>
        <p:spPr>
          <a:xfrm>
            <a:off x="1567231" y="2252846"/>
            <a:ext cx="785223" cy="55038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518192" y="2252846"/>
            <a:ext cx="785223" cy="550387"/>
          </a:xfrm>
          <a:prstGeom prst="rect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White</a:t>
            </a:r>
          </a:p>
        </p:txBody>
      </p:sp>
      <p:sp>
        <p:nvSpPr>
          <p:cNvPr id="9" name="Rectangle 8"/>
          <p:cNvSpPr/>
          <p:nvPr/>
        </p:nvSpPr>
        <p:spPr>
          <a:xfrm>
            <a:off x="3469153" y="2252846"/>
            <a:ext cx="785223" cy="55038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441667" y="1609726"/>
            <a:ext cx="3987311" cy="42862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cs typeface="Arial" pitchFamily="34" charset="0"/>
              </a:rPr>
              <a:t>Color palette</a:t>
            </a:r>
            <a:endParaRPr lang="en-US" sz="16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ColumnHeader"/>
          <p:cNvSpPr>
            <a:spLocks noChangeArrowheads="1"/>
          </p:cNvSpPr>
          <p:nvPr/>
        </p:nvSpPr>
        <p:spPr bwMode="gray">
          <a:xfrm>
            <a:off x="5173810" y="1607464"/>
            <a:ext cx="3987312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  <a:cs typeface="Arial" pitchFamily="34" charset="0"/>
              </a:rPr>
              <a:t>Chart style and color order</a:t>
            </a:r>
          </a:p>
        </p:txBody>
      </p:sp>
      <p:graphicFrame>
        <p:nvGraphicFramePr>
          <p:cNvPr id="12" name="Object 1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410380"/>
              </p:ext>
            </p:extLst>
          </p:nvPr>
        </p:nvGraphicFramePr>
        <p:xfrm>
          <a:off x="5219700" y="2209800"/>
          <a:ext cx="3819441" cy="32003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Chart" r:id="rId23" imgW="3819393" imgH="3200333" progId="MSGraph.Chart.8">
                  <p:embed followColorScheme="full"/>
                </p:oleObj>
              </mc:Choice>
              <mc:Fallback>
                <p:oleObj name="Chart" r:id="rId23" imgW="3819393" imgH="3200333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19700" y="2209800"/>
                        <a:ext cx="3819441" cy="32003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12"/>
          <p:cNvCxnSpPr/>
          <p:nvPr>
            <p:custDataLst>
              <p:tags r:id="rId3"/>
            </p:custDataLst>
          </p:nvPr>
        </p:nvCxnSpPr>
        <p:spPr bwMode="gray">
          <a:xfrm flipH="1">
            <a:off x="8748712" y="4340225"/>
            <a:ext cx="42863" cy="50800"/>
          </a:xfrm>
          <a:prstGeom prst="line">
            <a:avLst/>
          </a:prstGeom>
          <a:ln w="6350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4"/>
            </p:custDataLst>
          </p:nvPr>
        </p:nvCxnSpPr>
        <p:spPr bwMode="gray">
          <a:xfrm flipH="1">
            <a:off x="8748712" y="2682875"/>
            <a:ext cx="42863" cy="50800"/>
          </a:xfrm>
          <a:prstGeom prst="line">
            <a:avLst/>
          </a:prstGeom>
          <a:ln w="6350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5"/>
            </p:custDataLst>
          </p:nvPr>
        </p:nvCxnSpPr>
        <p:spPr bwMode="gray">
          <a:xfrm flipV="1">
            <a:off x="6205537" y="2386012"/>
            <a:ext cx="2171700" cy="133350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6"/>
            </p:custDataLst>
          </p:nvPr>
        </p:nvCxnSpPr>
        <p:spPr bwMode="gray">
          <a:xfrm flipH="1">
            <a:off x="8748712" y="3511550"/>
            <a:ext cx="42863" cy="50800"/>
          </a:xfrm>
          <a:prstGeom prst="line">
            <a:avLst/>
          </a:prstGeom>
          <a:ln w="6350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5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356225" y="2144712"/>
            <a:ext cx="420687" cy="182562"/>
          </a:xfrm>
          <a:prstGeom prst="rect">
            <a:avLst/>
          </a:prstGeom>
          <a:noFill/>
          <a:effectLst/>
        </p:spPr>
        <p:txBody>
          <a:bodyPr wrap="none" lIns="0" tIns="0" rIns="0" bIns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DE0818F-7D8E-42C4-B104-F016342808BD}" type="datetime'Y Axis'">
              <a:rPr lang="en-US" sz="1200" b="0" smtClean="0">
                <a:solidFill>
                  <a:srgbClr val="000000"/>
                </a:solidFill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Y Axis</a:t>
            </a:fld>
            <a:endParaRPr lang="en-US" sz="12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8" name="Text Placeholder 7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145337" y="5299075"/>
            <a:ext cx="292100" cy="152400"/>
          </a:xfrm>
          <a:prstGeom prst="rect">
            <a:avLst/>
          </a:prstGeom>
          <a:noFill/>
          <a:effectLst/>
        </p:spPr>
        <p:txBody>
          <a:bodyPr wrap="square" lIns="0" tIns="0" rIns="0" bIns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4E6D133-02C0-44D1-ABD4-7F104B460BC4}" type="datetime'''''2''''''''''''''''''''0''''''''1''''''2'''''''''''''''">
              <a:rPr lang="en-US" sz="1000" b="0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9" name="Text Placeholder 6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059487" y="5299075"/>
            <a:ext cx="292100" cy="152400"/>
          </a:xfrm>
          <a:prstGeom prst="rect">
            <a:avLst/>
          </a:prstGeom>
          <a:noFill/>
          <a:effectLst/>
        </p:spPr>
        <p:txBody>
          <a:bodyPr wrap="square" lIns="0" tIns="0" rIns="0" bIns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64F4599-A79D-4A23-8C8E-71A57F8719E2}" type="datetime'2''''''''''''''''''''''0''1''''1'''''''''''''''''''''''''''''">
              <a:rPr lang="en-US" sz="1000" b="0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0" name="Text Placeholder 4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816975" y="4791075"/>
            <a:ext cx="35877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–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–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–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D38C724-EF90-4D4F-BFE0-52A0714797C7}" type="datetime'''''''''''''''''''''Se''''r''''''i''''e''''''''''s'''''''''''">
              <a:rPr lang="en-US" sz="1000" b="0" smtClean="0"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000" b="0">
              <a:sym typeface="Arial"/>
            </a:endParaRPr>
          </a:p>
        </p:txBody>
      </p:sp>
      <p:sp>
        <p:nvSpPr>
          <p:cNvPr id="21" name="Text Placeholder 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816975" y="4467225"/>
            <a:ext cx="35877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–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–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–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1923920-2F78-4BF7-8B93-9B7272AB1B51}" type="datetime'''''''S''''e''''r''''''ie''''s'''''''''">
              <a:rPr lang="en-US" sz="1000" b="0" smtClean="0"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000" b="0">
              <a:sym typeface="Arial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816975" y="4264025"/>
            <a:ext cx="35877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–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–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–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1F34679-2630-4D3D-A4C0-4231A546C2C1}" type="datetime'''''''''Se''''''''''''''''r''''''''ie''''s'">
              <a:rPr lang="en-US" sz="1000" b="0" smtClean="0"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000" b="0">
              <a:sym typeface="Arial"/>
            </a:endParaRPr>
          </a:p>
        </p:txBody>
      </p:sp>
      <p:sp>
        <p:nvSpPr>
          <p:cNvPr id="23" name="Text Placeholder 4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505825" y="5553075"/>
            <a:ext cx="423862" cy="182562"/>
          </a:xfrm>
          <a:prstGeom prst="rect">
            <a:avLst/>
          </a:prstGeom>
          <a:noFill/>
          <a:effectLst/>
        </p:spPr>
        <p:txBody>
          <a:bodyPr wrap="none" lIns="0" tIns="0" rIns="0" bIns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1ACFCAF-D109-49A5-81F6-4E84CB5F1C78}" type="datetime'X Axis'">
              <a:rPr lang="en-US" sz="1200" b="0" smtClean="0">
                <a:solidFill>
                  <a:srgbClr val="000000"/>
                </a:solidFill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X Axis</a:t>
            </a:fld>
            <a:endParaRPr lang="en-US" sz="12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4" name="Text Placeholder 20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059612" y="2944812"/>
            <a:ext cx="463550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BB676D4-67F2-4E3C-A354-C8EE16EDC295}" type="datetime'''''''''''''''''+''''''''''4''''''''''7''%'''''''''''''''''">
              <a:rPr lang="en-US" sz="1000" b="0" smtClean="0">
                <a:solidFill>
                  <a:srgbClr val="000000"/>
                </a:solidFill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47%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5" name="Text Placeholder 4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816975" y="3962400"/>
            <a:ext cx="35877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–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–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–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BD907DE-4D3D-494B-B821-49659C963D67}" type="datetime'''S''''''''''''''''''e''''''''''''''''r''''i''''e''s'''''">
              <a:rPr lang="en-US" sz="1000" b="0" smtClean="0"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000" b="0">
              <a:sym typeface="Arial"/>
            </a:endParaRPr>
          </a:p>
        </p:txBody>
      </p:sp>
      <p:sp>
        <p:nvSpPr>
          <p:cNvPr id="26" name="Text Placeholder 3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816975" y="3638550"/>
            <a:ext cx="35877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–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–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–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D298193-6060-4EEA-9150-6500CB1F705D}" type="datetime'''''''''''S''''''e''''r''''''''''''''''i''''''''''''''es'''">
              <a:rPr lang="en-US" sz="1000" b="0" smtClean="0"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000" b="0">
              <a:sym typeface="Arial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816975" y="3435350"/>
            <a:ext cx="35877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i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–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–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rgbClr val="000000"/>
              </a:buClr>
              <a:buFont typeface="Arial" pitchFamily="34" charset="0"/>
              <a:buChar char="–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7019257-FE96-4E46-AF4C-15922079E074}" type="datetime'''''''''''S''e''r''''''''i''''e''s'''''''''''''''''''''''''''">
              <a:rPr lang="en-US" sz="1000" b="0" smtClean="0"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000" b="0">
              <a:sym typeface="Arial"/>
            </a:endParaRPr>
          </a:p>
        </p:txBody>
      </p:sp>
      <p:sp>
        <p:nvSpPr>
          <p:cNvPr id="28" name="Text Placeholder 11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816975" y="3133725"/>
            <a:ext cx="358775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56FFE9C-BF5B-4A84-9260-7158D99AAC7C}" type="datetime'S''''e''''r''''''''''''''ie''''''''''''''''''s'''''">
              <a:rPr lang="en-US" sz="1000" b="0" smtClean="0">
                <a:solidFill>
                  <a:srgbClr val="00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9" name="Text Placeholder 10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816975" y="2809875"/>
            <a:ext cx="358775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A444F79-E9E8-4AF4-9447-F05E08497CC2}" type="datetime'''''S''''''''''''e''''''''''ri''e''''''''s'">
              <a:rPr lang="en-US" sz="1000" b="0" smtClean="0">
                <a:solidFill>
                  <a:srgbClr val="00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30" name="Text Placeholder 9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816975" y="2606675"/>
            <a:ext cx="358775" cy="152400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E7DAE38-3DFA-4577-8E79-2779FB98690D}" type="datetime'''''''''''''''''''''S''e''r''''ies'''">
              <a:rPr lang="en-US" sz="1000" b="0" smtClean="0">
                <a:solidFill>
                  <a:srgbClr val="00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31" name="Text Placeholder 8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231187" y="5299075"/>
            <a:ext cx="292100" cy="152400"/>
          </a:xfrm>
          <a:prstGeom prst="rect">
            <a:avLst/>
          </a:prstGeom>
          <a:noFill/>
          <a:effectLst/>
        </p:spPr>
        <p:txBody>
          <a:bodyPr wrap="square" lIns="0" tIns="0" rIns="0" bIns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DF33E89-24F7-4E17-B6E0-1994FCDC715C}" type="datetime'''''20''''''''''''''''''''''''''''''''''''''''''''1''''''''3'">
              <a:rPr lang="en-US" sz="1000" b="0" smtClean="0">
                <a:solidFill>
                  <a:srgbClr val="000000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US" sz="1000" b="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616271" y="3831480"/>
            <a:ext cx="785223" cy="550387"/>
          </a:xfrm>
          <a:prstGeom prst="rect">
            <a:avLst/>
          </a:prstGeom>
          <a:solidFill>
            <a:srgbClr val="C0504D"/>
          </a:solidFill>
          <a:ln w="9525">
            <a:solidFill>
              <a:srgbClr val="C050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567231" y="3831480"/>
            <a:ext cx="785223" cy="550387"/>
          </a:xfrm>
          <a:prstGeom prst="rect">
            <a:avLst/>
          </a:prstGeom>
          <a:solidFill>
            <a:srgbClr val="CF7B79"/>
          </a:solidFill>
          <a:ln w="9525">
            <a:solidFill>
              <a:srgbClr val="CF7B7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2518192" y="3831480"/>
            <a:ext cx="785223" cy="550387"/>
          </a:xfrm>
          <a:prstGeom prst="rect">
            <a:avLst/>
          </a:prstGeom>
          <a:solidFill>
            <a:srgbClr val="DFA7A6"/>
          </a:solidFill>
          <a:ln w="9525">
            <a:solidFill>
              <a:srgbClr val="DFA7A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469153" y="3831480"/>
            <a:ext cx="785223" cy="550387"/>
          </a:xfrm>
          <a:prstGeom prst="rect">
            <a:avLst/>
          </a:prstGeom>
          <a:solidFill>
            <a:srgbClr val="EFD3D2"/>
          </a:solidFill>
          <a:ln w="9525">
            <a:solidFill>
              <a:srgbClr val="EFD3D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16271" y="3042163"/>
            <a:ext cx="785223" cy="550387"/>
          </a:xfrm>
          <a:prstGeom prst="rect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567231" y="3042163"/>
            <a:ext cx="785223" cy="550387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2518192" y="3042163"/>
            <a:ext cx="785223" cy="550387"/>
          </a:xfrm>
          <a:prstGeom prst="rect">
            <a:avLst/>
          </a:prstGeom>
          <a:solidFill>
            <a:srgbClr val="B2B2B2"/>
          </a:solidFill>
          <a:ln w="9525">
            <a:solidFill>
              <a:srgbClr val="B2B2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3469153" y="3042163"/>
            <a:ext cx="785223" cy="5503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616271" y="4620797"/>
            <a:ext cx="785223" cy="550387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1567231" y="4620797"/>
            <a:ext cx="785223" cy="5503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2518192" y="4620797"/>
            <a:ext cx="785223" cy="550387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3469153" y="4620797"/>
            <a:ext cx="785223" cy="55038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34261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EDA73F-8268-A04C-893B-919477494DF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idx="4294967295"/>
          </p:nvPr>
        </p:nvSpPr>
        <p:spPr>
          <a:xfrm>
            <a:off x="912813" y="161925"/>
            <a:ext cx="8689975" cy="831850"/>
          </a:xfrm>
        </p:spPr>
        <p:txBody>
          <a:bodyPr/>
          <a:lstStyle/>
          <a:p>
            <a:r>
              <a:rPr lang="en-US" dirty="0" smtClean="0"/>
              <a:t>Color palette and chart style</a:t>
            </a:r>
            <a:endParaRPr lang="en-US" dirty="0"/>
          </a:p>
        </p:txBody>
      </p:sp>
      <p:graphicFrame>
        <p:nvGraphicFramePr>
          <p:cNvPr id="44" name="Table 43"/>
          <p:cNvGraphicFramePr>
            <a:graphicFrameLocks noGrp="1"/>
          </p:cNvGraphicFramePr>
          <p:nvPr/>
        </p:nvGraphicFramePr>
        <p:xfrm>
          <a:off x="1600464" y="1516727"/>
          <a:ext cx="6401860" cy="329081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600465"/>
                <a:gridCol w="1600465"/>
                <a:gridCol w="1600465"/>
                <a:gridCol w="1600465"/>
              </a:tblGrid>
              <a:tr h="658162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5816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5816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5816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58162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5701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HGWMXd90yZ6g3VW7uz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y3SRB.a0ep9mlivwCG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7NVdtPVk2uZaWQdZui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azXj5DDkKY6EGLHoCM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O6vrurjUOTa8ejrlvY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WJpx6ldUmvnp.Ne_b2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iV6wpRAE.zeJdr32yES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3sBRXIlUygESLEnReb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WWZdLBxEeXXmDm7DW_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hWWIaivk6SLpLkonDE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azh0ZG8E6sGdcOJhrjM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OxHpy7mEiVg.G.tILH3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OMQl6hnkKFUAEQb72xf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.zrjTPNUaPv_S4Q.iEz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A1Jb8lH0SA4gFni.xO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STYLE" val="CoverPag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ntzMPrIkuC3IVu_UK0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nEklNzg0q4__tHtjwN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NMDT4Ngkq9A9aFMQjH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SKxBUoqkGL8g8CJmOJ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dmbE6MwUq.ML8.HMIgnQ"/>
</p:tagLst>
</file>

<file path=ppt/theme/theme1.xml><?xml version="1.0" encoding="utf-8"?>
<a:theme xmlns:a="http://schemas.openxmlformats.org/drawingml/2006/main" name="Blank">
  <a:themeElements>
    <a:clrScheme name="342868-00 Breakthru">
      <a:dk1>
        <a:srgbClr val="000000"/>
      </a:dk1>
      <a:lt1>
        <a:srgbClr val="FFFFFF"/>
      </a:lt1>
      <a:dk2>
        <a:srgbClr val="EC0626"/>
      </a:dk2>
      <a:lt2>
        <a:srgbClr val="808080"/>
      </a:lt2>
      <a:accent1>
        <a:srgbClr val="E2E2E2"/>
      </a:accent1>
      <a:accent2>
        <a:srgbClr val="FAC0C8"/>
      </a:accent2>
      <a:accent3>
        <a:srgbClr val="000000"/>
      </a:accent3>
      <a:accent4>
        <a:srgbClr val="000000"/>
      </a:accent4>
      <a:accent5>
        <a:srgbClr val="C0504D"/>
      </a:accent5>
      <a:accent6>
        <a:srgbClr val="CF7B79"/>
      </a:accent6>
      <a:hlink>
        <a:srgbClr val="F0445C"/>
      </a:hlink>
      <a:folHlink>
        <a:srgbClr val="F5829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Blank">
  <a:themeElements>
    <a:clrScheme name="342868-00 Breakthru">
      <a:dk1>
        <a:srgbClr val="000000"/>
      </a:dk1>
      <a:lt1>
        <a:srgbClr val="FFFFFF"/>
      </a:lt1>
      <a:dk2>
        <a:srgbClr val="EC0626"/>
      </a:dk2>
      <a:lt2>
        <a:srgbClr val="808080"/>
      </a:lt2>
      <a:accent1>
        <a:srgbClr val="E2E2E2"/>
      </a:accent1>
      <a:accent2>
        <a:srgbClr val="FAC0C8"/>
      </a:accent2>
      <a:accent3>
        <a:srgbClr val="000000"/>
      </a:accent3>
      <a:accent4>
        <a:srgbClr val="000000"/>
      </a:accent4>
      <a:accent5>
        <a:srgbClr val="C0504D"/>
      </a:accent5>
      <a:accent6>
        <a:srgbClr val="CF7B79"/>
      </a:accent6>
      <a:hlink>
        <a:srgbClr val="F0445C"/>
      </a:hlink>
      <a:folHlink>
        <a:srgbClr val="F58292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7</Words>
  <Application>Microsoft Macintosh PowerPoint</Application>
  <PresentationFormat>Custom</PresentationFormat>
  <Paragraphs>32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Calibri</vt:lpstr>
      <vt:lpstr>Arial</vt:lpstr>
      <vt:lpstr>Blank</vt:lpstr>
      <vt:lpstr>1_Blank</vt:lpstr>
      <vt:lpstr>think-cell Slide</vt:lpstr>
      <vt:lpstr>Chart</vt:lpstr>
      <vt:lpstr>PowerPoint Presentation</vt:lpstr>
      <vt:lpstr>Click to add title (Arial 24pt) Click to add subtitle (Arial 16 font)</vt:lpstr>
      <vt:lpstr>Color palette and chart style</vt:lpstr>
      <vt:lpstr>Color palette and chart style</vt:lpstr>
    </vt:vector>
  </TitlesOfParts>
  <LinksUpToDate>false</LinksUpToDate>
  <SharedDoc>false</SharedDoc>
  <HyperlinksChanged>false</HyperlinksChanged>
  <AppVersion>15.004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2-07-16T21:02:51Z</dcterms:created>
  <dcterms:modified xsi:type="dcterms:W3CDTF">2018-01-16T17:45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342868-00 Breakthru Beverage</vt:lpwstr>
  </property>
  <property fmtid="{D5CDD505-2E9C-101B-9397-08002B2CF9AE}" pid="3" name="Template Name">
    <vt:lpwstr>Letter</vt:lpwstr>
  </property>
  <property fmtid="{D5CDD505-2E9C-101B-9397-08002B2CF9AE}" pid="4" name="AMS Version">
    <vt:lpwstr>02007_v4.8.29_v1</vt:lpwstr>
  </property>
  <property fmtid="{D5CDD505-2E9C-101B-9397-08002B2CF9AE}" pid="5" name="_AdHocReviewCycleID">
    <vt:i4>851331784</vt:i4>
  </property>
  <property fmtid="{D5CDD505-2E9C-101B-9397-08002B2CF9AE}" pid="6" name="_NewReviewCycle">
    <vt:lpwstr/>
  </property>
</Properties>
</file>